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24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67.xml" ContentType="application/vnd.openxmlformats-officedocument.presentationml.tags+xml"/>
  <Override PartName="/ppt/notesSlides/notesSlide24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66" r:id="rId24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240.xml" Id="rId243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0.xml.rels>&#65279;<?xml version="1.0" encoding="utf-8"?><Relationships xmlns="http://schemas.openxmlformats.org/package/2006/relationships"><Relationship Type="http://schemas.openxmlformats.org/officeDocument/2006/relationships/slide" Target="/ppt/slides/slide240.xml" Id="rId2" /><Relationship Type="http://schemas.openxmlformats.org/officeDocument/2006/relationships/notesMaster" Target="/ppt/notesMasters/notesMaster1.xml" Id="rId1" /></Relationships>
</file>

<file path=ppt/notesSlides/notesSlide2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92509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067.xml" Id="rId2" /><Relationship Type="http://schemas.openxmlformats.org/officeDocument/2006/relationships/vmlDrawing" Target="/ppt/drawings/vmlDrawing244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44.bin" Id="rId5" /><Relationship Type="http://schemas.openxmlformats.org/officeDocument/2006/relationships/notesSlide" Target="/ppt/notesSlides/notesSlide240.xml" Id="rId4" /></Relationships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7059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4" name="Freihandform: Form 14">
            <a:extLst>
              <a:ext uri="{FF2B5EF4-FFF2-40B4-BE49-F238E27FC236}">
                <a16:creationId xmlns:a16="http://schemas.microsoft.com/office/drawing/2014/main" id="{1314462A-AD27-BF41-F39A-2611580C9055}"/>
              </a:ext>
            </a:extLst>
          </p:cNvPr>
          <p:cNvSpPr>
            <a:spLocks/>
          </p:cNvSpPr>
          <p:nvPr/>
        </p:nvSpPr>
        <p:spPr bwMode="gray">
          <a:xfrm>
            <a:off x="4376894" y="2346030"/>
            <a:ext cx="4584178" cy="4183571"/>
          </a:xfrm>
          <a:custGeom>
            <a:avLst/>
            <a:gdLst>
              <a:gd name="connsiteX0" fmla="*/ 67851912 w 67909630"/>
              <a:gd name="connsiteY0" fmla="*/ 37389716 h 65759458"/>
              <a:gd name="connsiteX1" fmla="*/ 65997388 w 67909630"/>
              <a:gd name="connsiteY1" fmla="*/ 35234168 h 65759458"/>
              <a:gd name="connsiteX2" fmla="*/ 61720336 w 67909630"/>
              <a:gd name="connsiteY2" fmla="*/ 33890308 h 65759458"/>
              <a:gd name="connsiteX3" fmla="*/ 26255022 w 67909630"/>
              <a:gd name="connsiteY3" fmla="*/ 22786460 h 65759458"/>
              <a:gd name="connsiteX4" fmla="*/ 8240158 w 67909630"/>
              <a:gd name="connsiteY4" fmla="*/ 17145840 h 65759458"/>
              <a:gd name="connsiteX5" fmla="*/ 3801842 w 67909630"/>
              <a:gd name="connsiteY5" fmla="*/ 15757187 h 65759458"/>
              <a:gd name="connsiteX6" fmla="*/ 3337764 w 67909630"/>
              <a:gd name="connsiteY6" fmla="*/ 15612048 h 65759458"/>
              <a:gd name="connsiteX7" fmla="*/ 11377618 w 67909630"/>
              <a:gd name="connsiteY7" fmla="*/ 13325698 h 65759458"/>
              <a:gd name="connsiteX8" fmla="*/ 27795982 w 67909630"/>
              <a:gd name="connsiteY8" fmla="*/ 8658030 h 65759458"/>
              <a:gd name="connsiteX9" fmla="*/ 35409388 w 67909630"/>
              <a:gd name="connsiteY9" fmla="*/ 6491732 h 65759458"/>
              <a:gd name="connsiteX10" fmla="*/ 35954096 w 67909630"/>
              <a:gd name="connsiteY10" fmla="*/ 6258796 h 65759458"/>
              <a:gd name="connsiteX11" fmla="*/ 36133276 w 67909630"/>
              <a:gd name="connsiteY11" fmla="*/ 6113659 h 65759458"/>
              <a:gd name="connsiteX12" fmla="*/ 36242576 w 67909630"/>
              <a:gd name="connsiteY12" fmla="*/ 5972108 h 65759458"/>
              <a:gd name="connsiteX13" fmla="*/ 36333960 w 67909630"/>
              <a:gd name="connsiteY13" fmla="*/ 5703336 h 65759458"/>
              <a:gd name="connsiteX14" fmla="*/ 36290956 w 67909630"/>
              <a:gd name="connsiteY14" fmla="*/ 5364684 h 65759458"/>
              <a:gd name="connsiteX15" fmla="*/ 36165528 w 67909630"/>
              <a:gd name="connsiteY15" fmla="*/ 5163999 h 65759458"/>
              <a:gd name="connsiteX16" fmla="*/ 35964848 w 67909630"/>
              <a:gd name="connsiteY16" fmla="*/ 5006322 h 65759458"/>
              <a:gd name="connsiteX17" fmla="*/ 35803584 w 67909630"/>
              <a:gd name="connsiteY17" fmla="*/ 4929272 h 65759458"/>
              <a:gd name="connsiteX18" fmla="*/ 35660240 w 67909630"/>
              <a:gd name="connsiteY18" fmla="*/ 4879102 h 65759458"/>
              <a:gd name="connsiteX19" fmla="*/ 35520476 w 67909630"/>
              <a:gd name="connsiteY19" fmla="*/ 4841473 h 65759458"/>
              <a:gd name="connsiteX20" fmla="*/ 35389676 w 67909630"/>
              <a:gd name="connsiteY20" fmla="*/ 4812806 h 65759458"/>
              <a:gd name="connsiteX21" fmla="*/ 35275000 w 67909630"/>
              <a:gd name="connsiteY21" fmla="*/ 4791302 h 65759458"/>
              <a:gd name="connsiteX22" fmla="*/ 35149572 w 67909630"/>
              <a:gd name="connsiteY22" fmla="*/ 4769801 h 65759458"/>
              <a:gd name="connsiteX23" fmla="*/ 34918428 w 67909630"/>
              <a:gd name="connsiteY23" fmla="*/ 4732172 h 65759458"/>
              <a:gd name="connsiteX24" fmla="*/ 33088990 w 67909630"/>
              <a:gd name="connsiteY24" fmla="*/ 4427565 h 65759458"/>
              <a:gd name="connsiteX25" fmla="*/ 29534038 w 67909630"/>
              <a:gd name="connsiteY25" fmla="*/ 3836268 h 65759458"/>
              <a:gd name="connsiteX26" fmla="*/ 7308416 w 67909630"/>
              <a:gd name="connsiteY26" fmla="*/ 134386 h 65759458"/>
              <a:gd name="connsiteX27" fmla="*/ 29422946 w 67909630"/>
              <a:gd name="connsiteY27" fmla="*/ 4642582 h 65759458"/>
              <a:gd name="connsiteX28" fmla="*/ 32965354 w 67909630"/>
              <a:gd name="connsiteY28" fmla="*/ 5327055 h 65759458"/>
              <a:gd name="connsiteX29" fmla="*/ 34660408 w 67909630"/>
              <a:gd name="connsiteY29" fmla="*/ 5654956 h 65759458"/>
              <a:gd name="connsiteX30" fmla="*/ 27552294 w 67909630"/>
              <a:gd name="connsiteY30" fmla="*/ 7480812 h 65759458"/>
              <a:gd name="connsiteX31" fmla="*/ 11044341 w 67909630"/>
              <a:gd name="connsiteY31" fmla="*/ 11718443 h 65759458"/>
              <a:gd name="connsiteX32" fmla="*/ 2325390 w 67909630"/>
              <a:gd name="connsiteY32" fmla="*/ 13956416 h 65759458"/>
              <a:gd name="connsiteX33" fmla="*/ 1771721 w 67909630"/>
              <a:gd name="connsiteY33" fmla="*/ 14097968 h 65759458"/>
              <a:gd name="connsiteX34" fmla="*/ 1495782 w 67909630"/>
              <a:gd name="connsiteY34" fmla="*/ 14169642 h 65759458"/>
              <a:gd name="connsiteX35" fmla="*/ 1336311 w 67909630"/>
              <a:gd name="connsiteY35" fmla="*/ 14216228 h 65759458"/>
              <a:gd name="connsiteX36" fmla="*/ 1248511 w 67909630"/>
              <a:gd name="connsiteY36" fmla="*/ 14244898 h 65759458"/>
              <a:gd name="connsiteX37" fmla="*/ 1144587 w 67909630"/>
              <a:gd name="connsiteY37" fmla="*/ 14282524 h 65759458"/>
              <a:gd name="connsiteX38" fmla="*/ 940320 w 67909630"/>
              <a:gd name="connsiteY38" fmla="*/ 14372115 h 65759458"/>
              <a:gd name="connsiteX39" fmla="*/ 714552 w 67909630"/>
              <a:gd name="connsiteY39" fmla="*/ 14504710 h 65759458"/>
              <a:gd name="connsiteX40" fmla="*/ 422487 w 67909630"/>
              <a:gd name="connsiteY40" fmla="*/ 14777066 h 65759458"/>
              <a:gd name="connsiteX41" fmla="*/ 257640 w 67909630"/>
              <a:gd name="connsiteY41" fmla="*/ 15040462 h 65759458"/>
              <a:gd name="connsiteX42" fmla="*/ 142964 w 67909630"/>
              <a:gd name="connsiteY42" fmla="*/ 15454370 h 65759458"/>
              <a:gd name="connsiteX43" fmla="*/ 178801 w 67909630"/>
              <a:gd name="connsiteY43" fmla="*/ 15925615 h 65759458"/>
              <a:gd name="connsiteX44" fmla="*/ 322146 w 67909630"/>
              <a:gd name="connsiteY44" fmla="*/ 16267851 h 65759458"/>
              <a:gd name="connsiteX45" fmla="*/ 472658 w 67909630"/>
              <a:gd name="connsiteY45" fmla="*/ 16470327 h 65759458"/>
              <a:gd name="connsiteX46" fmla="*/ 607044 w 67909630"/>
              <a:gd name="connsiteY46" fmla="*/ 16601128 h 65759458"/>
              <a:gd name="connsiteX47" fmla="*/ 728887 w 67909630"/>
              <a:gd name="connsiteY47" fmla="*/ 16697887 h 65759458"/>
              <a:gd name="connsiteX48" fmla="*/ 841771 w 67909630"/>
              <a:gd name="connsiteY48" fmla="*/ 16774934 h 65759458"/>
              <a:gd name="connsiteX49" fmla="*/ 1040661 w 67909630"/>
              <a:gd name="connsiteY49" fmla="*/ 16884234 h 65759458"/>
              <a:gd name="connsiteX50" fmla="*/ 1223426 w 67909630"/>
              <a:gd name="connsiteY50" fmla="*/ 16966658 h 65759458"/>
              <a:gd name="connsiteX51" fmla="*/ 1397232 w 67909630"/>
              <a:gd name="connsiteY51" fmla="*/ 17031162 h 65759458"/>
              <a:gd name="connsiteX52" fmla="*/ 1676755 w 67909630"/>
              <a:gd name="connsiteY52" fmla="*/ 17127920 h 65759458"/>
              <a:gd name="connsiteX53" fmla="*/ 2223257 w 67909630"/>
              <a:gd name="connsiteY53" fmla="*/ 17314268 h 65759458"/>
              <a:gd name="connsiteX54" fmla="*/ 3318054 w 67909630"/>
              <a:gd name="connsiteY54" fmla="*/ 17688758 h 65759458"/>
              <a:gd name="connsiteX55" fmla="*/ 7725908 w 67909630"/>
              <a:gd name="connsiteY55" fmla="*/ 19193878 h 65759458"/>
              <a:gd name="connsiteX56" fmla="*/ 25624308 w 67909630"/>
              <a:gd name="connsiteY56" fmla="*/ 25302162 h 65759458"/>
              <a:gd name="connsiteX57" fmla="*/ 60858476 w 67909630"/>
              <a:gd name="connsiteY57" fmla="*/ 37328796 h 65759458"/>
              <a:gd name="connsiteX58" fmla="*/ 63770168 w 67909630"/>
              <a:gd name="connsiteY58" fmla="*/ 38323252 h 65759458"/>
              <a:gd name="connsiteX59" fmla="*/ 25706730 w 67909630"/>
              <a:gd name="connsiteY59" fmla="*/ 65737960 h 65759458"/>
              <a:gd name="connsiteX60" fmla="*/ 41415536 w 67909630"/>
              <a:gd name="connsiteY60" fmla="*/ 65737960 h 65759458"/>
              <a:gd name="connsiteX61" fmla="*/ 47670748 w 67909630"/>
              <a:gd name="connsiteY61" fmla="*/ 59473784 h 65759458"/>
              <a:gd name="connsiteX62" fmla="*/ 59063076 w 67909630"/>
              <a:gd name="connsiteY62" fmla="*/ 48061740 h 65759458"/>
              <a:gd name="connsiteX63" fmla="*/ 65282456 w 67909630"/>
              <a:gd name="connsiteY63" fmla="*/ 41831616 h 65759458"/>
              <a:gd name="connsiteX64" fmla="*/ 66882544 w 67909630"/>
              <a:gd name="connsiteY64" fmla="*/ 40229736 h 65759458"/>
              <a:gd name="connsiteX65" fmla="*/ 67590312 w 67909630"/>
              <a:gd name="connsiteY65" fmla="*/ 39238864 h 65759458"/>
              <a:gd name="connsiteX66" fmla="*/ 67667360 w 67909630"/>
              <a:gd name="connsiteY66" fmla="*/ 39065060 h 65759458"/>
              <a:gd name="connsiteX67" fmla="*/ 67739024 w 67909630"/>
              <a:gd name="connsiteY67" fmla="*/ 38867960 h 65759458"/>
              <a:gd name="connsiteX68" fmla="*/ 67801744 w 67909630"/>
              <a:gd name="connsiteY68" fmla="*/ 38661904 h 65759458"/>
              <a:gd name="connsiteX69" fmla="*/ 67850120 w 67909630"/>
              <a:gd name="connsiteY69" fmla="*/ 38428968 h 65759458"/>
              <a:gd name="connsiteX70" fmla="*/ 67894912 w 67909630"/>
              <a:gd name="connsiteY70" fmla="*/ 37927260 h 65759458"/>
              <a:gd name="connsiteX71" fmla="*/ 67851912 w 67909630"/>
              <a:gd name="connsiteY71" fmla="*/ 37389716 h 65759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67909630" h="65759458">
                <a:moveTo>
                  <a:pt x="67851912" y="37389716"/>
                </a:moveTo>
                <a:cubicBezTo>
                  <a:pt x="67552680" y="35861300"/>
                  <a:pt x="66395168" y="35373928"/>
                  <a:pt x="65997388" y="35234168"/>
                </a:cubicBezTo>
                <a:cubicBezTo>
                  <a:pt x="64585440" y="34789800"/>
                  <a:pt x="63159160" y="34343636"/>
                  <a:pt x="61720336" y="33890308"/>
                </a:cubicBezTo>
                <a:cubicBezTo>
                  <a:pt x="50401464" y="30346108"/>
                  <a:pt x="38328244" y="26567180"/>
                  <a:pt x="26255022" y="22786460"/>
                </a:cubicBezTo>
                <a:cubicBezTo>
                  <a:pt x="20218412" y="20896098"/>
                  <a:pt x="14181802" y="19007532"/>
                  <a:pt x="8240158" y="17145840"/>
                </a:cubicBezTo>
                <a:cubicBezTo>
                  <a:pt x="6754747" y="16679968"/>
                  <a:pt x="5274711" y="16217681"/>
                  <a:pt x="3801842" y="15757187"/>
                </a:cubicBezTo>
                <a:cubicBezTo>
                  <a:pt x="3647746" y="15708807"/>
                  <a:pt x="3493651" y="15660427"/>
                  <a:pt x="3337764" y="15612048"/>
                </a:cubicBezTo>
                <a:cubicBezTo>
                  <a:pt x="6052357" y="14839778"/>
                  <a:pt x="8734697" y="14078258"/>
                  <a:pt x="11377618" y="13325698"/>
                </a:cubicBezTo>
                <a:cubicBezTo>
                  <a:pt x="17071992" y="11705902"/>
                  <a:pt x="22576436" y="10141649"/>
                  <a:pt x="27795982" y="8658030"/>
                </a:cubicBezTo>
                <a:cubicBezTo>
                  <a:pt x="30408442" y="7914430"/>
                  <a:pt x="32951022" y="7190537"/>
                  <a:pt x="35409388" y="6491732"/>
                </a:cubicBezTo>
                <a:cubicBezTo>
                  <a:pt x="35581400" y="6436186"/>
                  <a:pt x="35746244" y="6386015"/>
                  <a:pt x="35954096" y="6258796"/>
                </a:cubicBezTo>
                <a:cubicBezTo>
                  <a:pt x="36013224" y="6215794"/>
                  <a:pt x="36058020" y="6192500"/>
                  <a:pt x="36133276" y="6113659"/>
                </a:cubicBezTo>
                <a:cubicBezTo>
                  <a:pt x="36163736" y="6081408"/>
                  <a:pt x="36197784" y="6047363"/>
                  <a:pt x="36242576" y="5972108"/>
                </a:cubicBezTo>
                <a:cubicBezTo>
                  <a:pt x="36278412" y="5914768"/>
                  <a:pt x="36317832" y="5834137"/>
                  <a:pt x="36333960" y="5703336"/>
                </a:cubicBezTo>
                <a:cubicBezTo>
                  <a:pt x="36353668" y="5588660"/>
                  <a:pt x="36328584" y="5472191"/>
                  <a:pt x="36290956" y="5364684"/>
                </a:cubicBezTo>
                <a:cubicBezTo>
                  <a:pt x="36253328" y="5275093"/>
                  <a:pt x="36213908" y="5226714"/>
                  <a:pt x="36165528" y="5163999"/>
                </a:cubicBezTo>
                <a:cubicBezTo>
                  <a:pt x="36093856" y="5090534"/>
                  <a:pt x="36016812" y="5033198"/>
                  <a:pt x="35964848" y="5006322"/>
                </a:cubicBezTo>
                <a:cubicBezTo>
                  <a:pt x="35903924" y="4968692"/>
                  <a:pt x="35855544" y="4950773"/>
                  <a:pt x="35803584" y="4929272"/>
                </a:cubicBezTo>
                <a:cubicBezTo>
                  <a:pt x="35751620" y="4905978"/>
                  <a:pt x="35708620" y="4895227"/>
                  <a:pt x="35660240" y="4879102"/>
                </a:cubicBezTo>
                <a:cubicBezTo>
                  <a:pt x="35613652" y="4862976"/>
                  <a:pt x="35567064" y="4852226"/>
                  <a:pt x="35520476" y="4841473"/>
                </a:cubicBezTo>
                <a:cubicBezTo>
                  <a:pt x="35473888" y="4830722"/>
                  <a:pt x="35425512" y="4818181"/>
                  <a:pt x="35389676" y="4812806"/>
                </a:cubicBezTo>
                <a:lnTo>
                  <a:pt x="35275000" y="4791302"/>
                </a:lnTo>
                <a:lnTo>
                  <a:pt x="35149572" y="4769801"/>
                </a:lnTo>
                <a:lnTo>
                  <a:pt x="34918428" y="4732172"/>
                </a:lnTo>
                <a:cubicBezTo>
                  <a:pt x="34303836" y="4630040"/>
                  <a:pt x="33692832" y="4527906"/>
                  <a:pt x="33088990" y="4427565"/>
                </a:cubicBezTo>
                <a:cubicBezTo>
                  <a:pt x="31881310" y="4226883"/>
                  <a:pt x="30695130" y="4027992"/>
                  <a:pt x="29534038" y="3836268"/>
                </a:cubicBezTo>
                <a:cubicBezTo>
                  <a:pt x="10951167" y="741810"/>
                  <a:pt x="7308416" y="134386"/>
                  <a:pt x="7308416" y="134386"/>
                </a:cubicBezTo>
                <a:cubicBezTo>
                  <a:pt x="7308416" y="134386"/>
                  <a:pt x="10906372" y="1064336"/>
                  <a:pt x="29422946" y="4642582"/>
                </a:cubicBezTo>
                <a:cubicBezTo>
                  <a:pt x="30580454" y="4866558"/>
                  <a:pt x="31761260" y="5094119"/>
                  <a:pt x="32965354" y="5327055"/>
                </a:cubicBezTo>
                <a:cubicBezTo>
                  <a:pt x="33524400" y="5434564"/>
                  <a:pt x="34090612" y="5543865"/>
                  <a:pt x="34660408" y="5654956"/>
                </a:cubicBezTo>
                <a:cubicBezTo>
                  <a:pt x="32357930" y="6246254"/>
                  <a:pt x="29987366" y="6855469"/>
                  <a:pt x="27552294" y="7480812"/>
                </a:cubicBezTo>
                <a:cubicBezTo>
                  <a:pt x="22304080" y="8828252"/>
                  <a:pt x="16769176" y="10249159"/>
                  <a:pt x="11044341" y="11718443"/>
                </a:cubicBezTo>
                <a:cubicBezTo>
                  <a:pt x="8181028" y="12453087"/>
                  <a:pt x="5271128" y="13200272"/>
                  <a:pt x="2325390" y="13956416"/>
                </a:cubicBezTo>
                <a:lnTo>
                  <a:pt x="1771721" y="14097968"/>
                </a:lnTo>
                <a:lnTo>
                  <a:pt x="1495782" y="14169642"/>
                </a:lnTo>
                <a:lnTo>
                  <a:pt x="1336311" y="14216228"/>
                </a:lnTo>
                <a:cubicBezTo>
                  <a:pt x="1318393" y="14221603"/>
                  <a:pt x="1287932" y="14230563"/>
                  <a:pt x="1248511" y="14244898"/>
                </a:cubicBezTo>
                <a:lnTo>
                  <a:pt x="1144587" y="14282524"/>
                </a:lnTo>
                <a:cubicBezTo>
                  <a:pt x="1074706" y="14305819"/>
                  <a:pt x="1008409" y="14341654"/>
                  <a:pt x="940320" y="14372115"/>
                </a:cubicBezTo>
                <a:cubicBezTo>
                  <a:pt x="874024" y="14402575"/>
                  <a:pt x="788016" y="14456330"/>
                  <a:pt x="714552" y="14504710"/>
                </a:cubicBezTo>
                <a:cubicBezTo>
                  <a:pt x="619586" y="14578175"/>
                  <a:pt x="540747" y="14631927"/>
                  <a:pt x="422487" y="14777066"/>
                </a:cubicBezTo>
                <a:cubicBezTo>
                  <a:pt x="375900" y="14829027"/>
                  <a:pt x="311394" y="14925784"/>
                  <a:pt x="257640" y="15040462"/>
                </a:cubicBezTo>
                <a:cubicBezTo>
                  <a:pt x="207470" y="15135428"/>
                  <a:pt x="160882" y="15294899"/>
                  <a:pt x="142964" y="15454370"/>
                </a:cubicBezTo>
                <a:cubicBezTo>
                  <a:pt x="121463" y="15610257"/>
                  <a:pt x="142964" y="15773312"/>
                  <a:pt x="178801" y="15925615"/>
                </a:cubicBezTo>
                <a:cubicBezTo>
                  <a:pt x="214637" y="16056419"/>
                  <a:pt x="263015" y="16160344"/>
                  <a:pt x="322146" y="16267851"/>
                </a:cubicBezTo>
                <a:cubicBezTo>
                  <a:pt x="368732" y="16343107"/>
                  <a:pt x="418904" y="16405821"/>
                  <a:pt x="472658" y="16470327"/>
                </a:cubicBezTo>
                <a:cubicBezTo>
                  <a:pt x="524620" y="16529457"/>
                  <a:pt x="560457" y="16558124"/>
                  <a:pt x="607044" y="16601128"/>
                </a:cubicBezTo>
                <a:cubicBezTo>
                  <a:pt x="653630" y="16644132"/>
                  <a:pt x="693050" y="16674593"/>
                  <a:pt x="728887" y="16697887"/>
                </a:cubicBezTo>
                <a:lnTo>
                  <a:pt x="841771" y="16774934"/>
                </a:lnTo>
                <a:cubicBezTo>
                  <a:pt x="908068" y="16814354"/>
                  <a:pt x="976157" y="16851980"/>
                  <a:pt x="1040661" y="16884234"/>
                </a:cubicBezTo>
                <a:lnTo>
                  <a:pt x="1223426" y="16966658"/>
                </a:lnTo>
                <a:lnTo>
                  <a:pt x="1397232" y="17031162"/>
                </a:lnTo>
                <a:lnTo>
                  <a:pt x="1676755" y="17127920"/>
                </a:lnTo>
                <a:lnTo>
                  <a:pt x="2223257" y="17314268"/>
                </a:lnTo>
                <a:cubicBezTo>
                  <a:pt x="2588787" y="17437904"/>
                  <a:pt x="2952524" y="17563330"/>
                  <a:pt x="3318054" y="17688758"/>
                </a:cubicBezTo>
                <a:cubicBezTo>
                  <a:pt x="4780171" y="18188672"/>
                  <a:pt x="6251247" y="18690380"/>
                  <a:pt x="7725908" y="19193878"/>
                </a:cubicBezTo>
                <a:cubicBezTo>
                  <a:pt x="13629924" y="21207874"/>
                  <a:pt x="19627116" y="23255914"/>
                  <a:pt x="25624308" y="25302162"/>
                </a:cubicBezTo>
                <a:cubicBezTo>
                  <a:pt x="37618688" y="29396450"/>
                  <a:pt x="49613068" y="33488946"/>
                  <a:pt x="60858476" y="37328796"/>
                </a:cubicBezTo>
                <a:cubicBezTo>
                  <a:pt x="61836804" y="37662076"/>
                  <a:pt x="62804380" y="37993560"/>
                  <a:pt x="63770168" y="38323252"/>
                </a:cubicBezTo>
                <a:cubicBezTo>
                  <a:pt x="63583820" y="38502436"/>
                  <a:pt x="35056400" y="59375236"/>
                  <a:pt x="25706730" y="65737960"/>
                </a:cubicBezTo>
                <a:lnTo>
                  <a:pt x="41415536" y="65737960"/>
                </a:lnTo>
                <a:cubicBezTo>
                  <a:pt x="43373984" y="63775924"/>
                  <a:pt x="45463236" y="61683092"/>
                  <a:pt x="47670748" y="59473784"/>
                </a:cubicBezTo>
                <a:cubicBezTo>
                  <a:pt x="51198824" y="55940332"/>
                  <a:pt x="55020752" y="52111236"/>
                  <a:pt x="59063076" y="48061740"/>
                </a:cubicBezTo>
                <a:cubicBezTo>
                  <a:pt x="61084240" y="46036996"/>
                  <a:pt x="63160952" y="43956708"/>
                  <a:pt x="65282456" y="41831616"/>
                </a:cubicBezTo>
                <a:cubicBezTo>
                  <a:pt x="65812832" y="41301240"/>
                  <a:pt x="66346792" y="40765492"/>
                  <a:pt x="66882544" y="40229736"/>
                </a:cubicBezTo>
                <a:cubicBezTo>
                  <a:pt x="67122648" y="39984260"/>
                  <a:pt x="67373496" y="39688612"/>
                  <a:pt x="67590312" y="39238864"/>
                </a:cubicBezTo>
                <a:lnTo>
                  <a:pt x="67667360" y="39065060"/>
                </a:lnTo>
                <a:cubicBezTo>
                  <a:pt x="67692440" y="39005932"/>
                  <a:pt x="67715736" y="38934260"/>
                  <a:pt x="67739024" y="38867960"/>
                </a:cubicBezTo>
                <a:cubicBezTo>
                  <a:pt x="67762320" y="38799876"/>
                  <a:pt x="67782032" y="38731784"/>
                  <a:pt x="67801744" y="38661904"/>
                </a:cubicBezTo>
                <a:cubicBezTo>
                  <a:pt x="67819664" y="38586648"/>
                  <a:pt x="67835784" y="38506016"/>
                  <a:pt x="67850120" y="38428968"/>
                </a:cubicBezTo>
                <a:cubicBezTo>
                  <a:pt x="67880584" y="38276664"/>
                  <a:pt x="67894912" y="38102860"/>
                  <a:pt x="67894912" y="37927260"/>
                </a:cubicBezTo>
                <a:cubicBezTo>
                  <a:pt x="67902080" y="37753452"/>
                  <a:pt x="67878792" y="37565316"/>
                  <a:pt x="67851912" y="37389716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01F8A7F1-F64A-54C2-093C-3C61A077B3D8}"/>
              </a:ext>
            </a:extLst>
          </p:cNvPr>
          <p:cNvSpPr>
            <a:spLocks/>
          </p:cNvSpPr>
          <p:nvPr/>
        </p:nvSpPr>
        <p:spPr bwMode="gray">
          <a:xfrm flipH="1">
            <a:off x="6456484" y="1664392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</a:rPr>
              <a:t>{bullet_1}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</a:rPr>
              <a:t>{bullet_1_content}</a:t>
            </a:r>
          </a:p>
        </p:txBody>
      </p:sp>
      <p:sp>
        <p:nvSpPr>
          <p:cNvPr id="32" name="Rectangle 3">
            <a:extLst>
              <a:ext uri="{FF2B5EF4-FFF2-40B4-BE49-F238E27FC236}">
                <a16:creationId xmlns:a16="http://schemas.microsoft.com/office/drawing/2014/main" id="{935E27DB-1870-8A2F-64CD-E11F2241CAF1}"/>
              </a:ext>
            </a:extLst>
          </p:cNvPr>
          <p:cNvSpPr>
            <a:spLocks/>
          </p:cNvSpPr>
          <p:nvPr/>
        </p:nvSpPr>
        <p:spPr bwMode="gray">
          <a:xfrm flipH="1">
            <a:off x="1937931" y="2551239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</a:rPr>
              <a:t>{bullet_2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</a:rPr>
              <a:t>{bullet_2_content}</a:t>
            </a:r>
          </a:p>
        </p:txBody>
      </p:sp>
      <p:sp>
        <p:nvSpPr>
          <p:cNvPr id="33" name="Rectangle 3">
            <a:extLst>
              <a:ext uri="{FF2B5EF4-FFF2-40B4-BE49-F238E27FC236}">
                <a16:creationId xmlns:a16="http://schemas.microsoft.com/office/drawing/2014/main" id="{0D5C4B6D-DE79-52F5-AC27-F0DF50D501ED}"/>
              </a:ext>
            </a:extLst>
          </p:cNvPr>
          <p:cNvSpPr>
            <a:spLocks/>
          </p:cNvSpPr>
          <p:nvPr/>
        </p:nvSpPr>
        <p:spPr bwMode="gray">
          <a:xfrm flipH="1">
            <a:off x="7416466" y="3208947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</a:rPr>
              <a:t>{bullet_3}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</a:rPr>
              <a:t>{bullet_3_content}</a:t>
            </a:r>
          </a:p>
        </p:txBody>
      </p:sp>
      <p:sp>
        <p:nvSpPr>
          <p:cNvPr id="34" name="Rectangle 3">
            <a:extLst>
              <a:ext uri="{FF2B5EF4-FFF2-40B4-BE49-F238E27FC236}">
                <a16:creationId xmlns:a16="http://schemas.microsoft.com/office/drawing/2014/main" id="{854B457E-F388-C2F7-3A35-ABB2CFA9113E}"/>
              </a:ext>
            </a:extLst>
          </p:cNvPr>
          <p:cNvSpPr>
            <a:spLocks/>
          </p:cNvSpPr>
          <p:nvPr/>
        </p:nvSpPr>
        <p:spPr bwMode="gray">
          <a:xfrm flipH="1">
            <a:off x="5240062" y="4771589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</a:rPr>
              <a:t>{bullet_4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</a:rPr>
              <a:t>{bullet_4_content}</a:t>
            </a:r>
          </a:p>
        </p:txBody>
      </p:sp>
      <p:sp>
        <p:nvSpPr>
          <p:cNvPr id="6" name="Freeform 30">
            <a:extLst>
              <a:ext uri="{FF2B5EF4-FFF2-40B4-BE49-F238E27FC236}">
                <a16:creationId xmlns:a16="http://schemas.microsoft.com/office/drawing/2014/main" id="{A46BA6DF-F6D2-95B6-EF39-4C678B90FB3E}"/>
              </a:ext>
            </a:extLst>
          </p:cNvPr>
          <p:cNvSpPr>
            <a:spLocks/>
          </p:cNvSpPr>
          <p:nvPr/>
        </p:nvSpPr>
        <p:spPr bwMode="auto">
          <a:xfrm>
            <a:off x="7597856" y="4771589"/>
            <a:ext cx="534298" cy="869231"/>
          </a:xfrm>
          <a:custGeom>
            <a:avLst/>
            <a:gdLst>
              <a:gd name="T0" fmla="*/ 590 w 1181"/>
              <a:gd name="T1" fmla="*/ 933 h 1922"/>
              <a:gd name="T2" fmla="*/ 590 w 1181"/>
              <a:gd name="T3" fmla="*/ 933 h 1922"/>
              <a:gd name="T4" fmla="*/ 289 w 1181"/>
              <a:gd name="T5" fmla="*/ 632 h 1922"/>
              <a:gd name="T6" fmla="*/ 289 w 1181"/>
              <a:gd name="T7" fmla="*/ 632 h 1922"/>
              <a:gd name="T8" fmla="*/ 590 w 1181"/>
              <a:gd name="T9" fmla="*/ 331 h 1922"/>
              <a:gd name="T10" fmla="*/ 590 w 1181"/>
              <a:gd name="T11" fmla="*/ 331 h 1922"/>
              <a:gd name="T12" fmla="*/ 891 w 1181"/>
              <a:gd name="T13" fmla="*/ 632 h 1922"/>
              <a:gd name="T14" fmla="*/ 891 w 1181"/>
              <a:gd name="T15" fmla="*/ 632 h 1922"/>
              <a:gd name="T16" fmla="*/ 590 w 1181"/>
              <a:gd name="T17" fmla="*/ 933 h 1922"/>
              <a:gd name="T18" fmla="*/ 590 w 1181"/>
              <a:gd name="T19" fmla="*/ 0 h 1922"/>
              <a:gd name="T20" fmla="*/ 590 w 1181"/>
              <a:gd name="T21" fmla="*/ 0 h 1922"/>
              <a:gd name="T22" fmla="*/ 0 w 1181"/>
              <a:gd name="T23" fmla="*/ 589 h 1922"/>
              <a:gd name="T24" fmla="*/ 0 w 1181"/>
              <a:gd name="T25" fmla="*/ 589 h 1922"/>
              <a:gd name="T26" fmla="*/ 590 w 1181"/>
              <a:gd name="T27" fmla="*/ 1921 h 1922"/>
              <a:gd name="T28" fmla="*/ 590 w 1181"/>
              <a:gd name="T29" fmla="*/ 1921 h 1922"/>
              <a:gd name="T30" fmla="*/ 1180 w 1181"/>
              <a:gd name="T31" fmla="*/ 589 h 1922"/>
              <a:gd name="T32" fmla="*/ 1180 w 1181"/>
              <a:gd name="T33" fmla="*/ 589 h 1922"/>
              <a:gd name="T34" fmla="*/ 590 w 1181"/>
              <a:gd name="T35" fmla="*/ 0 h 1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2">
                <a:moveTo>
                  <a:pt x="590" y="933"/>
                </a:moveTo>
                <a:lnTo>
                  <a:pt x="590" y="933"/>
                </a:lnTo>
                <a:cubicBezTo>
                  <a:pt x="424" y="933"/>
                  <a:pt x="289" y="798"/>
                  <a:pt x="289" y="632"/>
                </a:cubicBezTo>
                <a:lnTo>
                  <a:pt x="289" y="632"/>
                </a:lnTo>
                <a:cubicBezTo>
                  <a:pt x="289" y="466"/>
                  <a:pt x="424" y="331"/>
                  <a:pt x="590" y="331"/>
                </a:cubicBezTo>
                <a:lnTo>
                  <a:pt x="590" y="331"/>
                </a:lnTo>
                <a:cubicBezTo>
                  <a:pt x="756" y="331"/>
                  <a:pt x="891" y="466"/>
                  <a:pt x="891" y="632"/>
                </a:cubicBezTo>
                <a:lnTo>
                  <a:pt x="891" y="632"/>
                </a:lnTo>
                <a:cubicBezTo>
                  <a:pt x="891" y="798"/>
                  <a:pt x="756" y="933"/>
                  <a:pt x="590" y="933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3"/>
                  <a:pt x="0" y="589"/>
                </a:cubicBezTo>
                <a:lnTo>
                  <a:pt x="0" y="589"/>
                </a:lnTo>
                <a:cubicBezTo>
                  <a:pt x="0" y="915"/>
                  <a:pt x="590" y="1921"/>
                  <a:pt x="590" y="1921"/>
                </a:cubicBezTo>
                <a:lnTo>
                  <a:pt x="590" y="1921"/>
                </a:lnTo>
                <a:cubicBezTo>
                  <a:pt x="590" y="1921"/>
                  <a:pt x="1180" y="915"/>
                  <a:pt x="1180" y="589"/>
                </a:cubicBezTo>
                <a:lnTo>
                  <a:pt x="1180" y="589"/>
                </a:lnTo>
                <a:cubicBezTo>
                  <a:pt x="1180" y="263"/>
                  <a:pt x="915" y="0"/>
                  <a:pt x="59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8" name="Freeform 31">
            <a:extLst>
              <a:ext uri="{FF2B5EF4-FFF2-40B4-BE49-F238E27FC236}">
                <a16:creationId xmlns:a16="http://schemas.microsoft.com/office/drawing/2014/main" id="{9A13A6A1-D9AD-62DF-696F-97E3A57EB3CE}"/>
              </a:ext>
            </a:extLst>
          </p:cNvPr>
          <p:cNvSpPr>
            <a:spLocks/>
          </p:cNvSpPr>
          <p:nvPr/>
        </p:nvSpPr>
        <p:spPr bwMode="auto">
          <a:xfrm>
            <a:off x="4420014" y="2569999"/>
            <a:ext cx="534298" cy="869231"/>
          </a:xfrm>
          <a:custGeom>
            <a:avLst/>
            <a:gdLst>
              <a:gd name="T0" fmla="*/ 589 w 1180"/>
              <a:gd name="T1" fmla="*/ 932 h 1922"/>
              <a:gd name="T2" fmla="*/ 589 w 1180"/>
              <a:gd name="T3" fmla="*/ 932 h 1922"/>
              <a:gd name="T4" fmla="*/ 288 w 1180"/>
              <a:gd name="T5" fmla="*/ 631 h 1922"/>
              <a:gd name="T6" fmla="*/ 288 w 1180"/>
              <a:gd name="T7" fmla="*/ 631 h 1922"/>
              <a:gd name="T8" fmla="*/ 589 w 1180"/>
              <a:gd name="T9" fmla="*/ 332 h 1922"/>
              <a:gd name="T10" fmla="*/ 589 w 1180"/>
              <a:gd name="T11" fmla="*/ 332 h 1922"/>
              <a:gd name="T12" fmla="*/ 890 w 1180"/>
              <a:gd name="T13" fmla="*/ 631 h 1922"/>
              <a:gd name="T14" fmla="*/ 890 w 1180"/>
              <a:gd name="T15" fmla="*/ 631 h 1922"/>
              <a:gd name="T16" fmla="*/ 589 w 1180"/>
              <a:gd name="T17" fmla="*/ 932 h 1922"/>
              <a:gd name="T18" fmla="*/ 589 w 1180"/>
              <a:gd name="T19" fmla="*/ 0 h 1922"/>
              <a:gd name="T20" fmla="*/ 589 w 1180"/>
              <a:gd name="T21" fmla="*/ 0 h 1922"/>
              <a:gd name="T22" fmla="*/ 0 w 1180"/>
              <a:gd name="T23" fmla="*/ 589 h 1922"/>
              <a:gd name="T24" fmla="*/ 0 w 1180"/>
              <a:gd name="T25" fmla="*/ 589 h 1922"/>
              <a:gd name="T26" fmla="*/ 589 w 1180"/>
              <a:gd name="T27" fmla="*/ 1921 h 1922"/>
              <a:gd name="T28" fmla="*/ 589 w 1180"/>
              <a:gd name="T29" fmla="*/ 1921 h 1922"/>
              <a:gd name="T30" fmla="*/ 1179 w 1180"/>
              <a:gd name="T31" fmla="*/ 589 h 1922"/>
              <a:gd name="T32" fmla="*/ 1179 w 1180"/>
              <a:gd name="T33" fmla="*/ 589 h 1922"/>
              <a:gd name="T34" fmla="*/ 589 w 1180"/>
              <a:gd name="T35" fmla="*/ 0 h 1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0" h="1922">
                <a:moveTo>
                  <a:pt x="589" y="932"/>
                </a:moveTo>
                <a:lnTo>
                  <a:pt x="589" y="932"/>
                </a:lnTo>
                <a:cubicBezTo>
                  <a:pt x="423" y="932"/>
                  <a:pt x="288" y="797"/>
                  <a:pt x="288" y="631"/>
                </a:cubicBezTo>
                <a:lnTo>
                  <a:pt x="288" y="631"/>
                </a:lnTo>
                <a:cubicBezTo>
                  <a:pt x="288" y="466"/>
                  <a:pt x="423" y="332"/>
                  <a:pt x="589" y="332"/>
                </a:cubicBezTo>
                <a:lnTo>
                  <a:pt x="589" y="332"/>
                </a:lnTo>
                <a:cubicBezTo>
                  <a:pt x="756" y="332"/>
                  <a:pt x="890" y="466"/>
                  <a:pt x="890" y="631"/>
                </a:cubicBezTo>
                <a:lnTo>
                  <a:pt x="890" y="631"/>
                </a:lnTo>
                <a:cubicBezTo>
                  <a:pt x="890" y="797"/>
                  <a:pt x="756" y="932"/>
                  <a:pt x="589" y="932"/>
                </a:cubicBezTo>
                <a:close/>
                <a:moveTo>
                  <a:pt x="589" y="0"/>
                </a:moveTo>
                <a:lnTo>
                  <a:pt x="589" y="0"/>
                </a:lnTo>
                <a:cubicBezTo>
                  <a:pt x="264" y="0"/>
                  <a:pt x="0" y="264"/>
                  <a:pt x="0" y="589"/>
                </a:cubicBezTo>
                <a:lnTo>
                  <a:pt x="0" y="589"/>
                </a:lnTo>
                <a:cubicBezTo>
                  <a:pt x="0" y="914"/>
                  <a:pt x="589" y="1921"/>
                  <a:pt x="589" y="1921"/>
                </a:cubicBezTo>
                <a:lnTo>
                  <a:pt x="589" y="1921"/>
                </a:lnTo>
                <a:cubicBezTo>
                  <a:pt x="589" y="1921"/>
                  <a:pt x="1179" y="914"/>
                  <a:pt x="1179" y="589"/>
                </a:cubicBezTo>
                <a:lnTo>
                  <a:pt x="1179" y="589"/>
                </a:lnTo>
                <a:cubicBezTo>
                  <a:pt x="1179" y="264"/>
                  <a:pt x="915" y="0"/>
                  <a:pt x="58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9" name="Freeform 32">
            <a:extLst>
              <a:ext uri="{FF2B5EF4-FFF2-40B4-BE49-F238E27FC236}">
                <a16:creationId xmlns:a16="http://schemas.microsoft.com/office/drawing/2014/main" id="{0B64FAD2-86A3-509B-52BC-F7612C93BA6B}"/>
              </a:ext>
            </a:extLst>
          </p:cNvPr>
          <p:cNvSpPr>
            <a:spLocks/>
          </p:cNvSpPr>
          <p:nvPr/>
        </p:nvSpPr>
        <p:spPr bwMode="auto">
          <a:xfrm>
            <a:off x="6456484" y="3208947"/>
            <a:ext cx="534298" cy="869231"/>
          </a:xfrm>
          <a:custGeom>
            <a:avLst/>
            <a:gdLst>
              <a:gd name="T0" fmla="*/ 590 w 1181"/>
              <a:gd name="T1" fmla="*/ 934 h 1923"/>
              <a:gd name="T2" fmla="*/ 590 w 1181"/>
              <a:gd name="T3" fmla="*/ 934 h 1923"/>
              <a:gd name="T4" fmla="*/ 289 w 1181"/>
              <a:gd name="T5" fmla="*/ 633 h 1923"/>
              <a:gd name="T6" fmla="*/ 289 w 1181"/>
              <a:gd name="T7" fmla="*/ 633 h 1923"/>
              <a:gd name="T8" fmla="*/ 590 w 1181"/>
              <a:gd name="T9" fmla="*/ 332 h 1923"/>
              <a:gd name="T10" fmla="*/ 590 w 1181"/>
              <a:gd name="T11" fmla="*/ 332 h 1923"/>
              <a:gd name="T12" fmla="*/ 891 w 1181"/>
              <a:gd name="T13" fmla="*/ 633 h 1923"/>
              <a:gd name="T14" fmla="*/ 891 w 1181"/>
              <a:gd name="T15" fmla="*/ 633 h 1923"/>
              <a:gd name="T16" fmla="*/ 590 w 1181"/>
              <a:gd name="T17" fmla="*/ 934 h 1923"/>
              <a:gd name="T18" fmla="*/ 590 w 1181"/>
              <a:gd name="T19" fmla="*/ 0 h 1923"/>
              <a:gd name="T20" fmla="*/ 590 w 1181"/>
              <a:gd name="T21" fmla="*/ 0 h 1923"/>
              <a:gd name="T22" fmla="*/ 0 w 1181"/>
              <a:gd name="T23" fmla="*/ 590 h 1923"/>
              <a:gd name="T24" fmla="*/ 0 w 1181"/>
              <a:gd name="T25" fmla="*/ 590 h 1923"/>
              <a:gd name="T26" fmla="*/ 590 w 1181"/>
              <a:gd name="T27" fmla="*/ 1922 h 1923"/>
              <a:gd name="T28" fmla="*/ 590 w 1181"/>
              <a:gd name="T29" fmla="*/ 1922 h 1923"/>
              <a:gd name="T30" fmla="*/ 1180 w 1181"/>
              <a:gd name="T31" fmla="*/ 590 h 1923"/>
              <a:gd name="T32" fmla="*/ 1180 w 1181"/>
              <a:gd name="T33" fmla="*/ 590 h 1923"/>
              <a:gd name="T34" fmla="*/ 590 w 1181"/>
              <a:gd name="T35" fmla="*/ 0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3">
                <a:moveTo>
                  <a:pt x="590" y="934"/>
                </a:moveTo>
                <a:lnTo>
                  <a:pt x="590" y="934"/>
                </a:lnTo>
                <a:cubicBezTo>
                  <a:pt x="424" y="934"/>
                  <a:pt x="289" y="799"/>
                  <a:pt x="289" y="633"/>
                </a:cubicBezTo>
                <a:lnTo>
                  <a:pt x="289" y="633"/>
                </a:lnTo>
                <a:cubicBezTo>
                  <a:pt x="289" y="467"/>
                  <a:pt x="424" y="332"/>
                  <a:pt x="590" y="332"/>
                </a:cubicBezTo>
                <a:lnTo>
                  <a:pt x="590" y="332"/>
                </a:lnTo>
                <a:cubicBezTo>
                  <a:pt x="756" y="332"/>
                  <a:pt x="891" y="467"/>
                  <a:pt x="891" y="633"/>
                </a:cubicBezTo>
                <a:lnTo>
                  <a:pt x="891" y="633"/>
                </a:lnTo>
                <a:cubicBezTo>
                  <a:pt x="891" y="799"/>
                  <a:pt x="756" y="934"/>
                  <a:pt x="590" y="934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5"/>
                  <a:pt x="0" y="590"/>
                </a:cubicBezTo>
                <a:lnTo>
                  <a:pt x="0" y="590"/>
                </a:lnTo>
                <a:cubicBezTo>
                  <a:pt x="0" y="915"/>
                  <a:pt x="590" y="1922"/>
                  <a:pt x="590" y="1922"/>
                </a:cubicBezTo>
                <a:lnTo>
                  <a:pt x="590" y="1922"/>
                </a:lnTo>
                <a:cubicBezTo>
                  <a:pt x="590" y="1922"/>
                  <a:pt x="1180" y="915"/>
                  <a:pt x="1180" y="590"/>
                </a:cubicBezTo>
                <a:lnTo>
                  <a:pt x="1180" y="590"/>
                </a:lnTo>
                <a:cubicBezTo>
                  <a:pt x="1180" y="265"/>
                  <a:pt x="915" y="0"/>
                  <a:pt x="59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11" name="Freeform 32">
            <a:extLst>
              <a:ext uri="{FF2B5EF4-FFF2-40B4-BE49-F238E27FC236}">
                <a16:creationId xmlns:a16="http://schemas.microsoft.com/office/drawing/2014/main" id="{BCC030FA-C67C-05B8-F857-7F2CF41346D0}"/>
              </a:ext>
            </a:extLst>
          </p:cNvPr>
          <p:cNvSpPr>
            <a:spLocks/>
          </p:cNvSpPr>
          <p:nvPr/>
        </p:nvSpPr>
        <p:spPr bwMode="auto">
          <a:xfrm>
            <a:off x="5550828" y="1664392"/>
            <a:ext cx="534298" cy="869231"/>
          </a:xfrm>
          <a:custGeom>
            <a:avLst/>
            <a:gdLst>
              <a:gd name="T0" fmla="*/ 590 w 1181"/>
              <a:gd name="T1" fmla="*/ 934 h 1923"/>
              <a:gd name="T2" fmla="*/ 590 w 1181"/>
              <a:gd name="T3" fmla="*/ 934 h 1923"/>
              <a:gd name="T4" fmla="*/ 289 w 1181"/>
              <a:gd name="T5" fmla="*/ 633 h 1923"/>
              <a:gd name="T6" fmla="*/ 289 w 1181"/>
              <a:gd name="T7" fmla="*/ 633 h 1923"/>
              <a:gd name="T8" fmla="*/ 590 w 1181"/>
              <a:gd name="T9" fmla="*/ 332 h 1923"/>
              <a:gd name="T10" fmla="*/ 590 w 1181"/>
              <a:gd name="T11" fmla="*/ 332 h 1923"/>
              <a:gd name="T12" fmla="*/ 891 w 1181"/>
              <a:gd name="T13" fmla="*/ 633 h 1923"/>
              <a:gd name="T14" fmla="*/ 891 w 1181"/>
              <a:gd name="T15" fmla="*/ 633 h 1923"/>
              <a:gd name="T16" fmla="*/ 590 w 1181"/>
              <a:gd name="T17" fmla="*/ 934 h 1923"/>
              <a:gd name="T18" fmla="*/ 590 w 1181"/>
              <a:gd name="T19" fmla="*/ 0 h 1923"/>
              <a:gd name="T20" fmla="*/ 590 w 1181"/>
              <a:gd name="T21" fmla="*/ 0 h 1923"/>
              <a:gd name="T22" fmla="*/ 0 w 1181"/>
              <a:gd name="T23" fmla="*/ 590 h 1923"/>
              <a:gd name="T24" fmla="*/ 0 w 1181"/>
              <a:gd name="T25" fmla="*/ 590 h 1923"/>
              <a:gd name="T26" fmla="*/ 590 w 1181"/>
              <a:gd name="T27" fmla="*/ 1922 h 1923"/>
              <a:gd name="T28" fmla="*/ 590 w 1181"/>
              <a:gd name="T29" fmla="*/ 1922 h 1923"/>
              <a:gd name="T30" fmla="*/ 1180 w 1181"/>
              <a:gd name="T31" fmla="*/ 590 h 1923"/>
              <a:gd name="T32" fmla="*/ 1180 w 1181"/>
              <a:gd name="T33" fmla="*/ 590 h 1923"/>
              <a:gd name="T34" fmla="*/ 590 w 1181"/>
              <a:gd name="T35" fmla="*/ 0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3">
                <a:moveTo>
                  <a:pt x="590" y="934"/>
                </a:moveTo>
                <a:lnTo>
                  <a:pt x="590" y="934"/>
                </a:lnTo>
                <a:cubicBezTo>
                  <a:pt x="424" y="934"/>
                  <a:pt x="289" y="799"/>
                  <a:pt x="289" y="633"/>
                </a:cubicBezTo>
                <a:lnTo>
                  <a:pt x="289" y="633"/>
                </a:lnTo>
                <a:cubicBezTo>
                  <a:pt x="289" y="467"/>
                  <a:pt x="424" y="332"/>
                  <a:pt x="590" y="332"/>
                </a:cubicBezTo>
                <a:lnTo>
                  <a:pt x="590" y="332"/>
                </a:lnTo>
                <a:cubicBezTo>
                  <a:pt x="756" y="332"/>
                  <a:pt x="891" y="467"/>
                  <a:pt x="891" y="633"/>
                </a:cubicBezTo>
                <a:lnTo>
                  <a:pt x="891" y="633"/>
                </a:lnTo>
                <a:cubicBezTo>
                  <a:pt x="891" y="799"/>
                  <a:pt x="756" y="934"/>
                  <a:pt x="590" y="934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5"/>
                  <a:pt x="0" y="590"/>
                </a:cubicBezTo>
                <a:lnTo>
                  <a:pt x="0" y="590"/>
                </a:lnTo>
                <a:cubicBezTo>
                  <a:pt x="0" y="915"/>
                  <a:pt x="590" y="1922"/>
                  <a:pt x="590" y="1922"/>
                </a:cubicBezTo>
                <a:lnTo>
                  <a:pt x="590" y="1922"/>
                </a:lnTo>
                <a:cubicBezTo>
                  <a:pt x="590" y="1922"/>
                  <a:pt x="1180" y="915"/>
                  <a:pt x="1180" y="590"/>
                </a:cubicBezTo>
                <a:lnTo>
                  <a:pt x="1180" y="590"/>
                </a:lnTo>
                <a:cubicBezTo>
                  <a:pt x="1180" y="265"/>
                  <a:pt x="915" y="0"/>
                  <a:pt x="59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2336853E-401F-0A52-0233-8F383D3ED96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26504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, timelines, milestone</a:t>
            </a:r>
          </a:p>
        </p:txBody>
      </p:sp>
    </p:spTree>
    <p:extLst>
      <p:ext uri="{BB962C8B-B14F-4D97-AF65-F5344CB8AC3E}">
        <p14:creationId xmlns:p14="http://schemas.microsoft.com/office/powerpoint/2010/main" val="42480666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